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3"/>
  </p:notesMasterIdLst>
  <p:sldIdLst>
    <p:sldId id="256" r:id="rId3"/>
    <p:sldId id="1073" r:id="rId4"/>
    <p:sldId id="1074" r:id="rId5"/>
    <p:sldId id="1075" r:id="rId6"/>
    <p:sldId id="1076" r:id="rId7"/>
    <p:sldId id="1077" r:id="rId8"/>
    <p:sldId id="1078" r:id="rId9"/>
    <p:sldId id="1079" r:id="rId10"/>
    <p:sldId id="1081" r:id="rId11"/>
    <p:sldId id="1082" r:id="rId1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706" autoAdjust="0"/>
  </p:normalViewPr>
  <p:slideViewPr>
    <p:cSldViewPr snapToGrid="0">
      <p:cViewPr varScale="1">
        <p:scale>
          <a:sx n="76" d="100"/>
          <a:sy n="76" d="100"/>
        </p:scale>
        <p:origin x="946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4-29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4-2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4-29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4-29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5" y="4454732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581835"/>
            <a:ext cx="9649641" cy="58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기전융합종합설계 </a:t>
            </a:r>
            <a:r>
              <a:rPr lang="en-US" altLang="ko-KR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9</a:t>
            </a:r>
            <a:r>
              <a:rPr lang="ko-KR" altLang="en-US" sz="25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주차 보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8C6D367-3AFE-15FA-2E46-C58BDAB4F5D6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6C212841-D1EE-255C-028A-F82DB8E92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Severstal</a:t>
            </a:r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datas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38B0CC-DCAA-51A1-A9B0-4862188AB1BB}"/>
              </a:ext>
            </a:extLst>
          </p:cNvPr>
          <p:cNvSpPr txBox="1"/>
          <p:nvPr/>
        </p:nvSpPr>
        <p:spPr>
          <a:xfrm>
            <a:off x="263781" y="1346232"/>
            <a:ext cx="11813919" cy="336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/>
              <a:t>약 </a:t>
            </a:r>
            <a:r>
              <a:rPr lang="en-US" altLang="ko-KR" sz="1300" dirty="0"/>
              <a:t>5,600</a:t>
            </a:r>
            <a:r>
              <a:rPr lang="ko-KR" altLang="en-US" sz="1300" dirty="0"/>
              <a:t>개의 정상 </a:t>
            </a:r>
            <a:r>
              <a:rPr lang="en-US" altLang="ko-KR" sz="1300" dirty="0"/>
              <a:t>sample</a:t>
            </a:r>
            <a:r>
              <a:rPr lang="ko-KR" altLang="en-US" sz="1300" dirty="0"/>
              <a:t>이 존재 </a:t>
            </a:r>
            <a:r>
              <a:rPr lang="en-US" altLang="ko-KR" sz="1300" dirty="0"/>
              <a:t>(1600 x 256 siz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/>
              <a:t>실제 </a:t>
            </a:r>
            <a:r>
              <a:rPr lang="en-US" altLang="ko-KR" sz="1300" dirty="0" err="1"/>
              <a:t>MVTec</a:t>
            </a:r>
            <a:r>
              <a:rPr lang="en-US" altLang="ko-KR" sz="1300" dirty="0"/>
              <a:t> ad </a:t>
            </a:r>
            <a:r>
              <a:rPr lang="ko-KR" altLang="en-US" sz="1300" dirty="0"/>
              <a:t>데이터셋이 </a:t>
            </a:r>
            <a:r>
              <a:rPr lang="en-US" altLang="ko-KR" sz="1300" dirty="0"/>
              <a:t>220</a:t>
            </a:r>
            <a:r>
              <a:rPr lang="ko-KR" altLang="en-US" sz="1300" dirty="0"/>
              <a:t>개의 </a:t>
            </a:r>
            <a:r>
              <a:rPr lang="en-US" altLang="ko-KR" sz="1300" dirty="0"/>
              <a:t>mapping </a:t>
            </a:r>
            <a:r>
              <a:rPr lang="ko-KR" altLang="en-US" sz="1300" dirty="0"/>
              <a:t>이미지를 활용</a:t>
            </a:r>
            <a:endParaRPr lang="en-US" altLang="ko-KR" sz="13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/>
              <a:t>모든 이미지 </a:t>
            </a:r>
            <a:r>
              <a:rPr lang="en-US" altLang="ko-KR" sz="1300" dirty="0">
                <a:sym typeface="Wingdings" panose="05000000000000000000" pitchFamily="2" charset="2"/>
              </a:rPr>
              <a:t> </a:t>
            </a:r>
            <a:r>
              <a:rPr lang="ko-KR" altLang="en-US" sz="1300" dirty="0">
                <a:sym typeface="Wingdings" panose="05000000000000000000" pitchFamily="2" charset="2"/>
              </a:rPr>
              <a:t>정상</a:t>
            </a:r>
            <a:r>
              <a:rPr lang="en-US" altLang="ko-KR" sz="1300" dirty="0">
                <a:sym typeface="Wingdings" panose="05000000000000000000" pitchFamily="2" charset="2"/>
              </a:rPr>
              <a:t>/</a:t>
            </a:r>
            <a:r>
              <a:rPr lang="ko-KR" altLang="en-US" sz="1300" dirty="0">
                <a:sym typeface="Wingdings" panose="05000000000000000000" pitchFamily="2" charset="2"/>
              </a:rPr>
              <a:t>비정상 구분 작업 진행</a:t>
            </a: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>
                <a:sym typeface="Wingdings" panose="05000000000000000000" pitchFamily="2" charset="2"/>
              </a:rPr>
              <a:t>정상 중 </a:t>
            </a:r>
            <a:r>
              <a:rPr lang="en-US" altLang="ko-KR" sz="1300" dirty="0">
                <a:sym typeface="Wingdings" panose="05000000000000000000" pitchFamily="2" charset="2"/>
              </a:rPr>
              <a:t>200</a:t>
            </a:r>
            <a:r>
              <a:rPr lang="ko-KR" altLang="en-US" sz="1300" dirty="0">
                <a:sym typeface="Wingdings" panose="05000000000000000000" pitchFamily="2" charset="2"/>
              </a:rPr>
              <a:t>개의 이미지만을 가지고 학습을 진행</a:t>
            </a: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30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/>
              <a:t>이미지 </a:t>
            </a:r>
            <a:r>
              <a:rPr lang="en-US" altLang="ko-KR" sz="1300" dirty="0"/>
              <a:t>resizing : 800 x 126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300" dirty="0" err="1"/>
              <a:t>마스킹</a:t>
            </a:r>
            <a:r>
              <a:rPr lang="ko-KR" altLang="en-US" sz="1300" dirty="0"/>
              <a:t> 이미지가 없기 때문에</a:t>
            </a:r>
            <a:r>
              <a:rPr lang="en-US" altLang="ko-KR" sz="1300" dirty="0"/>
              <a:t>, </a:t>
            </a:r>
            <a:r>
              <a:rPr lang="ko-KR" altLang="en-US" sz="1300" dirty="0"/>
              <a:t>정량적인 성능 수치화 </a:t>
            </a:r>
            <a:r>
              <a:rPr lang="en-US" altLang="ko-KR" sz="1300" dirty="0"/>
              <a:t>X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F4DFB84D-FC54-31A5-626A-11FFA76856B0}"/>
              </a:ext>
            </a:extLst>
          </p:cNvPr>
          <p:cNvGrpSpPr/>
          <p:nvPr/>
        </p:nvGrpSpPr>
        <p:grpSpPr>
          <a:xfrm>
            <a:off x="623237" y="2607859"/>
            <a:ext cx="6044265" cy="1430741"/>
            <a:chOff x="632762" y="2531659"/>
            <a:chExt cx="6044265" cy="1459316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CD7A3EF6-55CC-011C-9437-E388E353DC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69783"/>
            <a:stretch/>
          </p:blipFill>
          <p:spPr>
            <a:xfrm>
              <a:off x="632762" y="2531659"/>
              <a:ext cx="6044264" cy="766749"/>
            </a:xfrm>
            <a:prstGeom prst="rect">
              <a:avLst/>
            </a:prstGeom>
          </p:spPr>
        </p:pic>
        <p:pic>
          <p:nvPicPr>
            <p:cNvPr id="7" name="그림 6">
              <a:extLst>
                <a:ext uri="{FF2B5EF4-FFF2-40B4-BE49-F238E27FC236}">
                  <a16:creationId xmlns:a16="http://schemas.microsoft.com/office/drawing/2014/main" id="{8FDC883A-49BA-0058-33F7-EAC9941F7F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75626"/>
            <a:stretch/>
          </p:blipFill>
          <p:spPr>
            <a:xfrm>
              <a:off x="632763" y="3298408"/>
              <a:ext cx="6044264" cy="692567"/>
            </a:xfrm>
            <a:prstGeom prst="rect">
              <a:avLst/>
            </a:prstGeom>
          </p:spPr>
        </p:pic>
      </p:grp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34E71811-4F79-7B64-52E0-4733EDC00528}"/>
              </a:ext>
            </a:extLst>
          </p:cNvPr>
          <p:cNvGrpSpPr/>
          <p:nvPr/>
        </p:nvGrpSpPr>
        <p:grpSpPr>
          <a:xfrm>
            <a:off x="7554967" y="1241457"/>
            <a:ext cx="3015156" cy="5059644"/>
            <a:chOff x="7554967" y="1241457"/>
            <a:chExt cx="3015156" cy="5059644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B1B4BDED-2DDA-5169-B1B3-286767B1B349}"/>
                </a:ext>
              </a:extLst>
            </p:cNvPr>
            <p:cNvGrpSpPr/>
            <p:nvPr/>
          </p:nvGrpSpPr>
          <p:grpSpPr>
            <a:xfrm>
              <a:off x="7554967" y="1241457"/>
              <a:ext cx="3015156" cy="4743451"/>
              <a:chOff x="8367217" y="1241456"/>
              <a:chExt cx="3015156" cy="4743451"/>
            </a:xfrm>
          </p:grpSpPr>
          <p:pic>
            <p:nvPicPr>
              <p:cNvPr id="10" name="그림 9">
                <a:extLst>
                  <a:ext uri="{FF2B5EF4-FFF2-40B4-BE49-F238E27FC236}">
                    <a16:creationId xmlns:a16="http://schemas.microsoft.com/office/drawing/2014/main" id="{FCA3D680-123B-C95F-517C-AFD025EE56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64180"/>
              <a:stretch/>
            </p:blipFill>
            <p:spPr>
              <a:xfrm>
                <a:off x="8367217" y="1241456"/>
                <a:ext cx="1376856" cy="4743450"/>
              </a:xfrm>
              <a:prstGeom prst="rect">
                <a:avLst/>
              </a:prstGeom>
            </p:spPr>
          </p:pic>
          <p:pic>
            <p:nvPicPr>
              <p:cNvPr id="11" name="그림 10">
                <a:extLst>
                  <a:ext uri="{FF2B5EF4-FFF2-40B4-BE49-F238E27FC236}">
                    <a16:creationId xmlns:a16="http://schemas.microsoft.com/office/drawing/2014/main" id="{E56912E2-B8F6-75B1-FA99-68F212FE179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57874"/>
              <a:stretch/>
            </p:blipFill>
            <p:spPr>
              <a:xfrm>
                <a:off x="9763124" y="1241457"/>
                <a:ext cx="1619249" cy="4743450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FB90E1-1A3E-A08C-BD97-2CA30517A8C0}"/>
                </a:ext>
              </a:extLst>
            </p:cNvPr>
            <p:cNvSpPr txBox="1"/>
            <p:nvPr/>
          </p:nvSpPr>
          <p:spPr>
            <a:xfrm>
              <a:off x="7554967" y="6008713"/>
              <a:ext cx="3015156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300" b="1" dirty="0"/>
                <a:t>[</a:t>
              </a:r>
              <a:r>
                <a:rPr lang="en-US" altLang="ko-KR" sz="1300" b="1" dirty="0" err="1"/>
                <a:t>Severstal</a:t>
              </a:r>
              <a:r>
                <a:rPr lang="ko-KR" altLang="en-US" sz="1300" b="1" dirty="0"/>
                <a:t> </a:t>
              </a:r>
              <a:r>
                <a:rPr lang="en-US" altLang="ko-KR" sz="1300" b="1" dirty="0"/>
                <a:t>dataset</a:t>
              </a:r>
              <a:r>
                <a:rPr lang="ko-KR" altLang="en-US" sz="1300" b="1" dirty="0"/>
                <a:t> </a:t>
              </a:r>
              <a:r>
                <a:rPr lang="en-US" altLang="ko-KR" sz="1300" b="1" dirty="0"/>
                <a:t>AD </a:t>
              </a:r>
              <a:r>
                <a:rPr lang="ko-KR" altLang="en-US" sz="1300" b="1" dirty="0"/>
                <a:t>결과</a:t>
              </a:r>
              <a:r>
                <a:rPr lang="en-US" altLang="ko-KR" sz="1300" b="1" dirty="0"/>
                <a:t>]</a:t>
              </a:r>
              <a:endParaRPr lang="ko-KR" altLang="en-US" sz="13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127435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13B512-779C-E5AF-8F7A-6A5911A7F57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7</a:t>
            </a:r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주차 미팅 피드백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16875D-3147-3120-3902-68E91E52BCF9}"/>
              </a:ext>
            </a:extLst>
          </p:cNvPr>
          <p:cNvSpPr txBox="1"/>
          <p:nvPr/>
        </p:nvSpPr>
        <p:spPr>
          <a:xfrm>
            <a:off x="212853" y="819150"/>
            <a:ext cx="11766294" cy="1293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/>
              <a:t>1. DRAEM model </a:t>
            </a:r>
            <a:r>
              <a:rPr lang="ko-KR" altLang="en-US" dirty="0"/>
              <a:t>공부 </a:t>
            </a:r>
            <a:r>
              <a:rPr lang="en-US" altLang="ko-KR" dirty="0"/>
              <a:t>(Reconstruction based model </a:t>
            </a:r>
            <a:r>
              <a:rPr lang="ko-KR" altLang="en-US" dirty="0"/>
              <a:t>기반</a:t>
            </a:r>
            <a:r>
              <a:rPr lang="en-US" altLang="ko-KR" dirty="0"/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dirty="0"/>
              <a:t>2. </a:t>
            </a:r>
            <a:r>
              <a:rPr lang="en-US" altLang="ko-KR" dirty="0" err="1"/>
              <a:t>Severstal</a:t>
            </a:r>
            <a:r>
              <a:rPr lang="en-US" altLang="ko-KR" dirty="0"/>
              <a:t> steel defect dataset </a:t>
            </a:r>
            <a:r>
              <a:rPr lang="en-US" altLang="ko-KR" dirty="0">
                <a:sym typeface="Wingdings" panose="05000000000000000000" pitchFamily="2" charset="2"/>
              </a:rPr>
              <a:t></a:t>
            </a:r>
            <a:r>
              <a:rPr lang="en-US" altLang="ko-KR" dirty="0"/>
              <a:t> </a:t>
            </a:r>
            <a:r>
              <a:rPr lang="en-US" altLang="ko-KR" dirty="0" err="1"/>
              <a:t>PatchCore</a:t>
            </a:r>
            <a:r>
              <a:rPr lang="en-US" altLang="ko-KR" dirty="0"/>
              <a:t> (Memory bank </a:t>
            </a:r>
            <a:r>
              <a:rPr lang="ko-KR" altLang="en-US" dirty="0"/>
              <a:t>기반</a:t>
            </a:r>
            <a:r>
              <a:rPr lang="en-US" altLang="ko-KR" dirty="0"/>
              <a:t>) </a:t>
            </a:r>
            <a:r>
              <a:rPr lang="ko-KR" altLang="en-US" dirty="0"/>
              <a:t>모델에 적용 </a:t>
            </a:r>
            <a:r>
              <a:rPr lang="en-US" altLang="ko-KR" dirty="0"/>
              <a:t>&amp; </a:t>
            </a:r>
            <a:r>
              <a:rPr lang="ko-KR" altLang="en-US" dirty="0"/>
              <a:t>성능 평가</a:t>
            </a:r>
            <a:endParaRPr lang="en-US" altLang="ko-KR" dirty="0"/>
          </a:p>
          <a:p>
            <a:pPr>
              <a:lnSpc>
                <a:spcPct val="150000"/>
              </a:lnSpc>
            </a:pPr>
            <a:r>
              <a:rPr lang="en-US" altLang="ko-KR" dirty="0"/>
              <a:t>3. </a:t>
            </a:r>
            <a:r>
              <a:rPr lang="ko-KR" altLang="en-US" dirty="0"/>
              <a:t>비교 모델 선정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36177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610704B-E41D-A67D-939A-A3AD1312FCC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B60B1ED-6B26-2018-8A6E-0F161553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개요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114099-CEF6-A8A3-7ABC-98A6730923D5}"/>
              </a:ext>
            </a:extLst>
          </p:cNvPr>
          <p:cNvSpPr txBox="1"/>
          <p:nvPr/>
        </p:nvSpPr>
        <p:spPr>
          <a:xfrm>
            <a:off x="250953" y="1136682"/>
            <a:ext cx="11766294" cy="141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Discriminatively trained Reconstruction Anomaly Embedding Model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Convolutional autoencoder</a:t>
            </a:r>
            <a:r>
              <a:rPr lang="ko-KR" altLang="en-US" sz="1500" dirty="0"/>
              <a:t>와 같은 </a:t>
            </a:r>
            <a:r>
              <a:rPr lang="en-US" altLang="ko-KR" sz="1500" dirty="0"/>
              <a:t>reconstruction based </a:t>
            </a:r>
            <a:r>
              <a:rPr lang="ko-KR" altLang="en-US" sz="1500" dirty="0"/>
              <a:t>기법</a:t>
            </a:r>
            <a:endParaRPr lang="en-US" altLang="ko-KR" sz="15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/>
              <a:t>두 모델의 차이점 비교</a:t>
            </a: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94012EA0-F8AB-4CD3-3DEA-7B64D4CC7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4960158"/>
              </p:ext>
            </p:extLst>
          </p:nvPr>
        </p:nvGraphicFramePr>
        <p:xfrm>
          <a:off x="650875" y="2658746"/>
          <a:ext cx="7683501" cy="268790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49475">
                  <a:extLst>
                    <a:ext uri="{9D8B030D-6E8A-4147-A177-3AD203B41FA5}">
                      <a16:colId xmlns:a16="http://schemas.microsoft.com/office/drawing/2014/main" val="1377079547"/>
                    </a:ext>
                  </a:extLst>
                </a:gridCol>
                <a:gridCol w="2724150">
                  <a:extLst>
                    <a:ext uri="{9D8B030D-6E8A-4147-A177-3AD203B41FA5}">
                      <a16:colId xmlns:a16="http://schemas.microsoft.com/office/drawing/2014/main" val="514707098"/>
                    </a:ext>
                  </a:extLst>
                </a:gridCol>
                <a:gridCol w="2809876">
                  <a:extLst>
                    <a:ext uri="{9D8B030D-6E8A-4147-A177-3AD203B41FA5}">
                      <a16:colId xmlns:a16="http://schemas.microsoft.com/office/drawing/2014/main" val="3773955701"/>
                    </a:ext>
                  </a:extLst>
                </a:gridCol>
              </a:tblGrid>
              <a:tr h="560704">
                <a:tc>
                  <a:txBody>
                    <a:bodyPr/>
                    <a:lstStyle/>
                    <a:p>
                      <a:pPr algn="ctr" latinLnBrk="1"/>
                      <a:endParaRPr lang="ko-KR" altLang="en-US" sz="1500" b="1" dirty="0"/>
                    </a:p>
                  </a:txBody>
                  <a:tcPr anchor="ctr"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Autoencoder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/>
                        <a:t>DRAEM</a:t>
                      </a:r>
                      <a:endParaRPr lang="ko-KR" altLang="en-US" sz="15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3489824"/>
                  </a:ext>
                </a:extLst>
              </a:tr>
              <a:tr h="73766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학습 데이터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/>
                        <a:t>정상 이미지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/>
                        <a:t>정상 이미지 </a:t>
                      </a:r>
                      <a:r>
                        <a:rPr lang="en-US" altLang="ko-KR" sz="1300" dirty="0"/>
                        <a:t>+ </a:t>
                      </a:r>
                    </a:p>
                    <a:p>
                      <a:pPr algn="ctr" latinLnBrk="1"/>
                      <a:r>
                        <a:rPr lang="ko-KR" altLang="en-US" sz="1300" dirty="0"/>
                        <a:t>비정상 이미지 임의로 생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4741811"/>
                  </a:ext>
                </a:extLst>
              </a:tr>
              <a:tr h="69476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구조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Encoding + Decoding</a:t>
                      </a:r>
                      <a:endParaRPr lang="ko-KR" altLang="en-US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2</a:t>
                      </a:r>
                      <a:r>
                        <a:rPr lang="ko-KR" altLang="en-US" sz="1300" dirty="0"/>
                        <a:t>개의 네트워크가 존재</a:t>
                      </a:r>
                      <a:endParaRPr lang="en-US" altLang="ko-KR" sz="1300" dirty="0"/>
                    </a:p>
                    <a:p>
                      <a:pPr algn="ctr" latinLnBrk="1"/>
                      <a:r>
                        <a:rPr lang="en-US" altLang="ko-KR" sz="1300" dirty="0"/>
                        <a:t>1) Reconstructive sub-network</a:t>
                      </a:r>
                    </a:p>
                    <a:p>
                      <a:pPr algn="ctr" latinLnBrk="1"/>
                      <a:r>
                        <a:rPr lang="en-US" altLang="ko-KR" sz="1300" dirty="0"/>
                        <a:t>2) Discriminative sub-network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7829799"/>
                  </a:ext>
                </a:extLst>
              </a:tr>
              <a:tr h="69476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500" b="1" dirty="0"/>
                        <a:t>문제점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Over-generalization</a:t>
                      </a:r>
                      <a:endParaRPr lang="ko-KR" altLang="en-US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dirty="0"/>
                        <a:t>해당 사항을 개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9850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7380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6A13595-99CF-C7E4-EBF5-7A689FE8447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2E7C351-FE91-0C60-59DA-35C82CB2A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모델 구조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058512C-BC61-FC38-1672-565264F8F8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81" y="1309377"/>
            <a:ext cx="8308719" cy="30649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CB432E-8655-E8E5-7BDA-C0B71F6C92F0}"/>
              </a:ext>
            </a:extLst>
          </p:cNvPr>
          <p:cNvSpPr txBox="1"/>
          <p:nvPr/>
        </p:nvSpPr>
        <p:spPr>
          <a:xfrm>
            <a:off x="161925" y="4327557"/>
            <a:ext cx="11766294" cy="1441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b="1" dirty="0"/>
              <a:t>[</a:t>
            </a:r>
            <a:r>
              <a:rPr lang="ko-KR" altLang="en-US" sz="1500" b="1" dirty="0"/>
              <a:t>가장 중요한 세 가지</a:t>
            </a:r>
            <a:r>
              <a:rPr lang="en-US" altLang="ko-KR" sz="1500" b="1" dirty="0"/>
              <a:t>]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500" dirty="0"/>
              <a:t>Anomaly image </a:t>
            </a:r>
            <a:r>
              <a:rPr lang="ko-KR" altLang="en-US" sz="1500" dirty="0"/>
              <a:t>생성</a:t>
            </a:r>
            <a:endParaRPr lang="en-US" altLang="ko-KR" sz="1500" dirty="0"/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500" dirty="0"/>
              <a:t>Reconstructive sub-network </a:t>
            </a:r>
            <a:r>
              <a:rPr lang="ko-KR" altLang="en-US" sz="1500" dirty="0"/>
              <a:t>구조 </a:t>
            </a:r>
            <a:r>
              <a:rPr lang="en-US" altLang="ko-KR" sz="1500" dirty="0"/>
              <a:t>(loss </a:t>
            </a:r>
            <a:r>
              <a:rPr lang="ko-KR" altLang="en-US" sz="1500" dirty="0"/>
              <a:t>정의 및 목적</a:t>
            </a:r>
            <a:r>
              <a:rPr lang="en-US" altLang="ko-KR" sz="1500" dirty="0"/>
              <a:t>)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altLang="ko-KR" sz="1500" dirty="0"/>
              <a:t>Discriminative sub-network </a:t>
            </a:r>
            <a:r>
              <a:rPr lang="ko-KR" altLang="en-US" sz="1500" dirty="0"/>
              <a:t>구조 </a:t>
            </a:r>
            <a:r>
              <a:rPr lang="en-US" altLang="ko-KR" sz="1500" dirty="0"/>
              <a:t>(loss </a:t>
            </a:r>
            <a:r>
              <a:rPr lang="ko-KR" altLang="en-US" sz="1500" dirty="0"/>
              <a:t>정의 및 목적</a:t>
            </a:r>
            <a:r>
              <a:rPr lang="en-US" altLang="ko-KR" sz="1500" dirty="0"/>
              <a:t>)</a:t>
            </a:r>
            <a:endParaRPr lang="ko-KR" altLang="en-US" sz="1500" dirty="0"/>
          </a:p>
        </p:txBody>
      </p:sp>
    </p:spTree>
    <p:extLst>
      <p:ext uri="{BB962C8B-B14F-4D97-AF65-F5344CB8AC3E}">
        <p14:creationId xmlns:p14="http://schemas.microsoft.com/office/powerpoint/2010/main" val="3361093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83BBF71-86A5-E2D7-3C24-FC258BE92AA9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AA5C9DFF-C2D8-EA0D-6446-BBFFDA042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362687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omaly generation</a:t>
            </a:r>
          </a:p>
        </p:txBody>
      </p:sp>
      <p:grpSp>
        <p:nvGrpSpPr>
          <p:cNvPr id="8" name="그룹 7">
            <a:extLst>
              <a:ext uri="{FF2B5EF4-FFF2-40B4-BE49-F238E27FC236}">
                <a16:creationId xmlns:a16="http://schemas.microsoft.com/office/drawing/2014/main" id="{F90720C8-6230-3F2F-8C70-0D501210AA3C}"/>
              </a:ext>
            </a:extLst>
          </p:cNvPr>
          <p:cNvGrpSpPr/>
          <p:nvPr/>
        </p:nvGrpSpPr>
        <p:grpSpPr>
          <a:xfrm>
            <a:off x="263782" y="1270032"/>
            <a:ext cx="6765668" cy="2397093"/>
            <a:chOff x="254053" y="1270032"/>
            <a:chExt cx="6725589" cy="2667372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1AC7AA3C-D091-2DE9-4DCF-A783748C7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4053" y="1270032"/>
              <a:ext cx="6725589" cy="2667372"/>
            </a:xfrm>
            <a:prstGeom prst="rect">
              <a:avLst/>
            </a:prstGeom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5B1EFD03-50FE-A498-F7C9-63CAB81831AE}"/>
                </a:ext>
              </a:extLst>
            </p:cNvPr>
            <p:cNvSpPr/>
            <p:nvPr/>
          </p:nvSpPr>
          <p:spPr>
            <a:xfrm>
              <a:off x="1295400" y="3028950"/>
              <a:ext cx="2028825" cy="828675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1" name="그림 10">
            <a:extLst>
              <a:ext uri="{FF2B5EF4-FFF2-40B4-BE49-F238E27FC236}">
                <a16:creationId xmlns:a16="http://schemas.microsoft.com/office/drawing/2014/main" id="{8BE06D19-A967-1281-C4AB-38CF441A1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9450" y="1260507"/>
            <a:ext cx="3038885" cy="24256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A785F84-8EE9-6BF4-BC1A-ECA81C74F1E7}"/>
                  </a:ext>
                </a:extLst>
              </p:cNvPr>
              <p:cNvSpPr txBox="1"/>
              <p:nvPr/>
            </p:nvSpPr>
            <p:spPr>
              <a:xfrm>
                <a:off x="263781" y="3686175"/>
                <a:ext cx="11747244" cy="1261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Perlin noise generator</a:t>
                </a:r>
                <a:r>
                  <a:rPr lang="ko-KR" altLang="en-US" sz="1300" dirty="0"/>
                  <a:t>를 활용한 노이즈 성 이미지를 먼저 생성 </a:t>
                </a:r>
                <a:r>
                  <a:rPr lang="en-US" altLang="ko-KR" sz="1300" dirty="0"/>
                  <a:t>(P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Binary thresholding</a:t>
                </a:r>
                <a:r>
                  <a:rPr lang="ko-KR" altLang="en-US" sz="1300" dirty="0"/>
                  <a:t>을 통해 이미지 이진화를 진행 </a:t>
                </a:r>
                <a:r>
                  <a:rPr lang="en-US" altLang="ko-KR" sz="13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en-US" altLang="ko-KR" sz="1300" dirty="0"/>
                  <a:t>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학습 데이터의 샘플 이미지를 선정 </a:t>
                </a:r>
                <a:r>
                  <a:rPr lang="en-US" altLang="ko-KR" sz="1300" dirty="0"/>
                  <a:t>(I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A</a:t>
                </a:r>
                <a:r>
                  <a:rPr lang="ko-KR" altLang="en-US" sz="1300" dirty="0"/>
                  <a:t>와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ko-KR" altLang="en-US" sz="1300" dirty="0"/>
                  <a:t>를 결합한 이미지를 원본 데이터셋 </a:t>
                </a:r>
                <a:r>
                  <a:rPr lang="en-US" altLang="ko-KR" sz="1300" dirty="0"/>
                  <a:t>I</a:t>
                </a:r>
                <a:r>
                  <a:rPr lang="ko-KR" altLang="en-US" sz="1300" dirty="0"/>
                  <a:t>에 추가하여 최종적으로 비정상 샘플을 생성하게 됨 </a:t>
                </a:r>
                <a:r>
                  <a:rPr lang="en-US" altLang="ko-KR" sz="1300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I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</m:oMath>
                </a14:m>
                <a:r>
                  <a:rPr lang="en-US" altLang="ko-KR" sz="1300" dirty="0"/>
                  <a:t>)</a:t>
                </a:r>
                <a:endParaRPr lang="ko-KR" altLang="en-US" sz="13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A785F84-8EE9-6BF4-BC1A-ECA81C74F1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781" y="3686175"/>
                <a:ext cx="11747244" cy="1261627"/>
              </a:xfrm>
              <a:prstGeom prst="rect">
                <a:avLst/>
              </a:prstGeom>
              <a:blipFill>
                <a:blip r:embed="rId4"/>
                <a:stretch>
                  <a:fillRect l="-104" b="-338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그림 17">
            <a:extLst>
              <a:ext uri="{FF2B5EF4-FFF2-40B4-BE49-F238E27FC236}">
                <a16:creationId xmlns:a16="http://schemas.microsoft.com/office/drawing/2014/main" id="{02ADCA4D-E04C-6C59-1AD9-EF6D53CF21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72211" y="4247923"/>
            <a:ext cx="2390084" cy="2397094"/>
          </a:xfrm>
          <a:prstGeom prst="rect">
            <a:avLst/>
          </a:prstGeom>
        </p:spPr>
      </p:pic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D9B90E9A-47E1-9D9F-E8B4-68009D8DEDE8}"/>
              </a:ext>
            </a:extLst>
          </p:cNvPr>
          <p:cNvCxnSpPr>
            <a:stCxn id="11" idx="2"/>
          </p:cNvCxnSpPr>
          <p:nvPr/>
        </p:nvCxnSpPr>
        <p:spPr>
          <a:xfrm>
            <a:off x="8548893" y="3686175"/>
            <a:ext cx="718360" cy="561748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716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6770007-4B49-23BF-5817-EC463195232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B20C302-63A8-9851-C3D0-EFBD0F1F98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constructive sub-network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2A24625-B9CB-B287-75F1-C45FEDF91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914" y="1314155"/>
            <a:ext cx="7135062" cy="2522267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3DBD6967-CD4D-41C5-5B1D-4A163FF5A03D}"/>
              </a:ext>
            </a:extLst>
          </p:cNvPr>
          <p:cNvSpPr/>
          <p:nvPr/>
        </p:nvSpPr>
        <p:spPr>
          <a:xfrm>
            <a:off x="284913" y="1371305"/>
            <a:ext cx="3972762" cy="139780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4E3FFFC-F59D-F4CC-C884-F9AEE9E3E62C}"/>
                  </a:ext>
                </a:extLst>
              </p:cNvPr>
              <p:cNvSpPr txBox="1"/>
              <p:nvPr/>
            </p:nvSpPr>
            <p:spPr>
              <a:xfrm>
                <a:off x="222378" y="3807938"/>
                <a:ext cx="11747244" cy="30621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Encoder + Decoder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</a:t>
                </a:r>
                <a:r>
                  <a:rPr lang="en-US" altLang="ko-KR" sz="1300" dirty="0"/>
                  <a:t> Generation based form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네트워크 입력</a:t>
                </a:r>
                <a:r>
                  <a:rPr lang="en-US" altLang="ko-KR" sz="1300" dirty="0"/>
                  <a:t> : Generated anomaly image 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네트워크 출력</a:t>
                </a:r>
                <a:r>
                  <a:rPr lang="en-US" altLang="ko-KR" sz="1300" dirty="0"/>
                  <a:t> : Reconstructed image + Original image (</a:t>
                </a:r>
                <a:r>
                  <a:rPr lang="ko-KR" altLang="en-US" sz="1300" dirty="0"/>
                  <a:t>정상 데이터셋</a:t>
                </a:r>
                <a:r>
                  <a:rPr lang="en-US" altLang="ko-KR" sz="1300" dirty="0"/>
                  <a:t>)</a:t>
                </a:r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학습 목적 </a:t>
                </a:r>
                <a:r>
                  <a:rPr lang="en-US" altLang="ko-KR" sz="1300" dirty="0"/>
                  <a:t>: </a:t>
                </a:r>
                <a:r>
                  <a:rPr lang="ko-KR" altLang="en-US" sz="1300" dirty="0"/>
                  <a:t>비정상 이미지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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정상 이미지로 복원하는 것이 핵심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 Input image</a:t>
                </a:r>
                <a:r>
                  <a:rPr lang="ko-KR" altLang="en-US" sz="1300" dirty="0"/>
                  <a:t>의 </a:t>
                </a:r>
                <a:r>
                  <a:rPr lang="en-US" altLang="ko-KR" sz="1300" dirty="0"/>
                  <a:t>local pattern</a:t>
                </a:r>
                <a:r>
                  <a:rPr lang="ko-KR" altLang="en-US" sz="1300" dirty="0"/>
                  <a:t>을 </a:t>
                </a:r>
                <a:r>
                  <a:rPr lang="en-US" altLang="ko-KR" sz="1300" dirty="0"/>
                  <a:t>normal sample</a:t>
                </a:r>
                <a:r>
                  <a:rPr lang="ko-KR" altLang="en-US" sz="1300" dirty="0"/>
                  <a:t> 분포에 가깝게 만들 수 있는 네트워크 구조를 가지고 있음</a:t>
                </a:r>
                <a:r>
                  <a:rPr lang="en-US" altLang="ko-KR" sz="1300" dirty="0"/>
                  <a:t>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5)				:     Reconstruction los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I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r</m:t>
                        </m:r>
                      </m:sub>
                    </m:sSub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300" dirty="0"/>
                  <a:t>: Reconstructed image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R" sz="1300" i="1" dirty="0">
                        <a:latin typeface="Cambria Math" panose="02040503050406030204" pitchFamily="18" charset="0"/>
                      </a:rPr>
                      <m:t>I</m:t>
                    </m:r>
                  </m:oMath>
                </a14:m>
                <a:r>
                  <a:rPr lang="en-US" altLang="ko-KR" sz="1300" dirty="0"/>
                  <a:t> : </a:t>
                </a:r>
                <a:r>
                  <a:rPr lang="ko-KR" altLang="en-US" sz="1300" dirty="0"/>
                  <a:t>원본 이미지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SSIM loss : </a:t>
                </a:r>
                <a:r>
                  <a:rPr lang="ko-KR" altLang="en-US" sz="1300" dirty="0"/>
                  <a:t>두 이미지 간의 구조적 유사성을 정의 </a:t>
                </a:r>
                <a:r>
                  <a:rPr lang="en-US" altLang="ko-KR" sz="1300" dirty="0"/>
                  <a:t>/ </a:t>
                </a:r>
                <a:r>
                  <a:rPr lang="ko-KR" altLang="en-US" sz="1300" dirty="0"/>
                  <a:t>실제로 두 이미지가 얼마나 비슷하게 보이는 지를 평가하는 </a:t>
                </a:r>
                <a:r>
                  <a:rPr lang="en-US" altLang="ko-KR" sz="1300" dirty="0"/>
                  <a:t>loss term (</a:t>
                </a:r>
                <a:r>
                  <a:rPr lang="ko-KR" altLang="en-US" sz="1300" dirty="0"/>
                  <a:t>밝기</a:t>
                </a:r>
                <a:r>
                  <a:rPr lang="en-US" altLang="ko-KR" sz="1300" dirty="0"/>
                  <a:t>, </a:t>
                </a:r>
                <a:r>
                  <a:rPr lang="ko-KR" altLang="en-US" sz="1300" dirty="0"/>
                  <a:t>대비</a:t>
                </a:r>
                <a:r>
                  <a:rPr lang="en-US" altLang="ko-KR" sz="1300" dirty="0"/>
                  <a:t> </a:t>
                </a:r>
                <a:r>
                  <a:rPr lang="ko-KR" altLang="en-US" sz="1300" dirty="0"/>
                  <a:t>등등</a:t>
                </a:r>
                <a:r>
                  <a:rPr lang="en-US" altLang="ko-KR" sz="1300" dirty="0"/>
                  <a:t>)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Lambda : loss balancing hyper-parameter			</a:t>
                </a:r>
                <a:endParaRPr lang="ko-KR" altLang="en-US" sz="13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4E3FFFC-F59D-F4CC-C884-F9AEE9E3E6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378" y="3807938"/>
                <a:ext cx="11747244" cy="3062120"/>
              </a:xfrm>
              <a:prstGeom prst="rect">
                <a:avLst/>
              </a:prstGeom>
              <a:blipFill>
                <a:blip r:embed="rId3"/>
                <a:stretch>
                  <a:fillRect l="-104" b="-79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그림 9">
            <a:extLst>
              <a:ext uri="{FF2B5EF4-FFF2-40B4-BE49-F238E27FC236}">
                <a16:creationId xmlns:a16="http://schemas.microsoft.com/office/drawing/2014/main" id="{617DD09E-5AA3-DA1C-6323-7875BAFE4C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963" y="5341758"/>
            <a:ext cx="3134162" cy="352474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6202A8B1-58E7-EAFB-DCA9-B90749F24363}"/>
              </a:ext>
            </a:extLst>
          </p:cNvPr>
          <p:cNvSpPr/>
          <p:nvPr/>
        </p:nvSpPr>
        <p:spPr>
          <a:xfrm>
            <a:off x="608962" y="5372100"/>
            <a:ext cx="4972687" cy="28403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04727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10D5252-2B77-991F-ADCD-64E308FAEAFF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445965C-3A6B-DCF3-4C97-B77C384DA7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iscriminative sub-network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889F3DCF-E5A0-0C05-9146-2307AB3D5D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914" y="1314155"/>
            <a:ext cx="7135062" cy="2522267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FC454801-0239-E8F6-142B-DB463B8F36D0}"/>
              </a:ext>
            </a:extLst>
          </p:cNvPr>
          <p:cNvSpPr/>
          <p:nvPr/>
        </p:nvSpPr>
        <p:spPr>
          <a:xfrm>
            <a:off x="3852445" y="1399880"/>
            <a:ext cx="2653130" cy="139780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7209482-7CFE-A658-ADB4-088F6E97C932}"/>
                  </a:ext>
                </a:extLst>
              </p:cNvPr>
              <p:cNvSpPr txBox="1"/>
              <p:nvPr/>
            </p:nvSpPr>
            <p:spPr>
              <a:xfrm>
                <a:off x="222378" y="3807938"/>
                <a:ext cx="11747244" cy="27620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ko-KR" altLang="en-US" sz="1300" dirty="0"/>
                  <a:t>네트워크 입력 </a:t>
                </a:r>
                <a:r>
                  <a:rPr lang="en-US" altLang="ko-KR" sz="1300" dirty="0"/>
                  <a:t>: channel wise concatenation(</a:t>
                </a:r>
                <a:r>
                  <a:rPr lang="ko-KR" altLang="en-US" sz="1300" dirty="0"/>
                  <a:t>복원 이미지</a:t>
                </a:r>
                <a:r>
                  <a:rPr lang="en-US" altLang="ko-KR" sz="1300" dirty="0"/>
                  <a:t>, </a:t>
                </a:r>
                <a:r>
                  <a:rPr lang="ko-KR" altLang="en-US" sz="1300" dirty="0"/>
                  <a:t>원본 이미지</a:t>
                </a:r>
                <a:r>
                  <a:rPr lang="en-US" altLang="ko-KR" sz="1300"/>
                  <a:t>)</a:t>
                </a:r>
                <a:endParaRPr lang="en-US" altLang="ko-KR" sz="1300" dirty="0"/>
              </a:p>
              <a:p>
                <a:pPr marL="342900" indent="-342900">
                  <a:lnSpc>
                    <a:spcPct val="150000"/>
                  </a:lnSpc>
                  <a:buAutoNum type="arabicParenR"/>
                </a:pPr>
                <a:r>
                  <a:rPr lang="en-US" altLang="ko-KR" sz="1300" dirty="0"/>
                  <a:t>                                   :    focal loss</a:t>
                </a:r>
                <a:r>
                  <a:rPr lang="ko-KR" altLang="en-US" sz="1300" dirty="0"/>
                  <a:t>를 활용 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ko-KR" altLang="en-US" sz="1300" dirty="0"/>
                  <a:t>이미지 상에서 이상치는 작은 부분만을 차지하기 때문에</a:t>
                </a:r>
                <a:r>
                  <a:rPr lang="en-US" altLang="ko-KR" sz="1300" dirty="0"/>
                  <a:t>, cross entropy loss</a:t>
                </a:r>
                <a:r>
                  <a:rPr lang="ko-KR" altLang="en-US" sz="1300" dirty="0"/>
                  <a:t>를 사용하는 것이 아닌</a:t>
                </a:r>
                <a:r>
                  <a:rPr lang="en-US" altLang="ko-KR" sz="1300" dirty="0"/>
                  <a:t>, focal loss</a:t>
                </a:r>
                <a:r>
                  <a:rPr lang="ko-KR" altLang="en-US" sz="1300" dirty="0"/>
                  <a:t>를 활용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3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ko-KR" sz="1300" i="1">
                            <a:latin typeface="Cambria Math" panose="02040503050406030204" pitchFamily="18" charset="0"/>
                          </a:rPr>
                          <m:t>a</m:t>
                        </m:r>
                      </m:sub>
                    </m:sSub>
                    <m:r>
                      <a:rPr lang="en-US" altLang="ko-KR" sz="13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ko-KR" sz="1300" dirty="0"/>
                  <a:t>: Ground truth mask 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ko-KR" sz="1300" i="1" dirty="0">
                        <a:latin typeface="Cambria Math" panose="02040503050406030204" pitchFamily="18" charset="0"/>
                      </a:rPr>
                      <m:t>M</m:t>
                    </m:r>
                  </m:oMath>
                </a14:m>
                <a:r>
                  <a:rPr lang="ko-KR" altLang="en-US" sz="1300" dirty="0"/>
                  <a:t> </a:t>
                </a:r>
                <a:r>
                  <a:rPr lang="en-US" altLang="ko-KR" sz="1300" dirty="0"/>
                  <a:t>: output of discriminative sub-network (mask image)</a:t>
                </a:r>
              </a:p>
              <a:p>
                <a:pPr marL="342900" indent="-342900">
                  <a:lnSpc>
                    <a:spcPct val="150000"/>
                  </a:lnSpc>
                  <a:buAutoNum type="arabicParenR" startAt="3"/>
                </a:pPr>
                <a:r>
                  <a:rPr lang="ko-KR" altLang="en-US" sz="1300" dirty="0"/>
                  <a:t>모델의 전체 </a:t>
                </a:r>
                <a:r>
                  <a:rPr lang="en-US" altLang="ko-KR" sz="1300" dirty="0"/>
                  <a:t>Total loss :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ko-KR" sz="1300" dirty="0"/>
                  <a:t>4)    Inference </a:t>
                </a:r>
                <a:r>
                  <a:rPr lang="ko-KR" altLang="en-US" sz="1300" dirty="0"/>
                  <a:t>단계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ko-KR" sz="1300" dirty="0"/>
                  <a:t>Test set</a:t>
                </a:r>
                <a:r>
                  <a:rPr lang="ko-KR" altLang="en-US" sz="1300" dirty="0"/>
                  <a:t>이 입력으로 주어지면</a:t>
                </a:r>
                <a:r>
                  <a:rPr lang="en-US" altLang="ko-KR" sz="1300" dirty="0"/>
                  <a:t>, </a:t>
                </a:r>
                <a:r>
                  <a:rPr lang="ko-KR" altLang="en-US" sz="1300" dirty="0"/>
                  <a:t>정상 이미지를 복원</a:t>
                </a:r>
                <a:endParaRPr lang="en-US" altLang="ko-KR" sz="13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ko-KR" altLang="en-US" sz="1300" dirty="0"/>
                  <a:t>입력 이미지 </a:t>
                </a:r>
                <a:r>
                  <a:rPr lang="en-US" altLang="ko-KR" sz="1300" dirty="0"/>
                  <a:t>/ </a:t>
                </a:r>
                <a:r>
                  <a:rPr lang="ko-KR" altLang="en-US" sz="1300" dirty="0"/>
                  <a:t>복원 이미지 간의 차이에 대한 </a:t>
                </a:r>
                <a:r>
                  <a:rPr lang="en-US" altLang="ko-KR" sz="1300" dirty="0"/>
                  <a:t>masking </a:t>
                </a:r>
                <a:r>
                  <a:rPr lang="ko-KR" altLang="en-US" sz="1300" dirty="0"/>
                  <a:t>결과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 Ground truth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와 비교하여 성능을 평가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(Anomaly localization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에 대한 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pixel AUROC </a:t>
                </a:r>
                <a:r>
                  <a:rPr lang="ko-KR" altLang="en-US" sz="1300" dirty="0">
                    <a:sym typeface="Wingdings" panose="05000000000000000000" pitchFamily="2" charset="2"/>
                  </a:rPr>
                  <a:t>성능 평가 가능</a:t>
                </a:r>
                <a:r>
                  <a:rPr lang="en-US" altLang="ko-KR" sz="1300" dirty="0">
                    <a:sym typeface="Wingdings" panose="05000000000000000000" pitchFamily="2" charset="2"/>
                  </a:rPr>
                  <a:t>)</a:t>
                </a:r>
                <a:endParaRPr lang="en-US" altLang="ko-KR" sz="1300" dirty="0"/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7209482-7CFE-A658-ADB4-088F6E97C9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378" y="3807938"/>
                <a:ext cx="11747244" cy="2762038"/>
              </a:xfrm>
              <a:prstGeom prst="rect">
                <a:avLst/>
              </a:prstGeom>
              <a:blipFill>
                <a:blip r:embed="rId3"/>
                <a:stretch>
                  <a:fillRect l="-104" b="-1104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그림 8">
            <a:extLst>
              <a:ext uri="{FF2B5EF4-FFF2-40B4-BE49-F238E27FC236}">
                <a16:creationId xmlns:a16="http://schemas.microsoft.com/office/drawing/2014/main" id="{193C90D3-F994-B8DD-AB04-2298CA76A3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003" y="4191000"/>
            <a:ext cx="1305048" cy="263484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555B65C9-DEDC-E673-2416-2B2A068005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67" t="3699"/>
          <a:stretch/>
        </p:blipFill>
        <p:spPr>
          <a:xfrm>
            <a:off x="2333625" y="5364162"/>
            <a:ext cx="3790950" cy="294440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83E2269E-9E29-1BD3-0EA9-22A142D079BC}"/>
              </a:ext>
            </a:extLst>
          </p:cNvPr>
          <p:cNvSpPr/>
          <p:nvPr/>
        </p:nvSpPr>
        <p:spPr>
          <a:xfrm>
            <a:off x="619003" y="4180726"/>
            <a:ext cx="2733797" cy="28403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305F7856-B679-4A32-4A08-A0ACBDECC9D4}"/>
              </a:ext>
            </a:extLst>
          </p:cNvPr>
          <p:cNvSpPr/>
          <p:nvPr/>
        </p:nvSpPr>
        <p:spPr>
          <a:xfrm>
            <a:off x="608962" y="5362575"/>
            <a:ext cx="5515613" cy="28403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32403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FC10FC6-B2DC-0B19-8294-8363F8190C7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RAEM mode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E2B76615-F3AA-0469-C647-FE0918F91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ko-KR" altLang="en-US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성능 평가</a:t>
            </a:r>
            <a:endParaRPr lang="en-US" altLang="ko-KR" sz="15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1D725DF-1DC2-1EE2-87FF-9507E76C7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241457"/>
            <a:ext cx="5051372" cy="38412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4B2FAF-DE81-91F3-8492-D3EC8E11C52D}"/>
              </a:ext>
            </a:extLst>
          </p:cNvPr>
          <p:cNvSpPr txBox="1"/>
          <p:nvPr/>
        </p:nvSpPr>
        <p:spPr>
          <a:xfrm>
            <a:off x="263781" y="5172075"/>
            <a:ext cx="504164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/>
              <a:t>[</a:t>
            </a:r>
            <a:r>
              <a:rPr lang="en-US" altLang="ko-KR" sz="1300" b="1" dirty="0" err="1"/>
              <a:t>MVTec</a:t>
            </a:r>
            <a:r>
              <a:rPr lang="en-US" altLang="ko-KR" sz="1300" b="1" dirty="0"/>
              <a:t>-AD </a:t>
            </a:r>
            <a:r>
              <a:rPr lang="ko-KR" altLang="en-US" sz="1300" b="1" dirty="0"/>
              <a:t>데이터셋에 대한 성능 평가</a:t>
            </a:r>
            <a:r>
              <a:rPr lang="en-US" altLang="ko-KR" sz="1300" b="1" dirty="0"/>
              <a:t>]</a:t>
            </a:r>
            <a:endParaRPr lang="ko-KR" altLang="en-US" sz="1300" b="1" dirty="0"/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3A91A96C-C830-5FEE-4622-14FB17602B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175555"/>
              </p:ext>
            </p:extLst>
          </p:nvPr>
        </p:nvGraphicFramePr>
        <p:xfrm>
          <a:off x="5470525" y="1308131"/>
          <a:ext cx="3749676" cy="37746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77900">
                  <a:extLst>
                    <a:ext uri="{9D8B030D-6E8A-4147-A177-3AD203B41FA5}">
                      <a16:colId xmlns:a16="http://schemas.microsoft.com/office/drawing/2014/main" val="2472691824"/>
                    </a:ext>
                  </a:extLst>
                </a:gridCol>
                <a:gridCol w="2771776">
                  <a:extLst>
                    <a:ext uri="{9D8B030D-6E8A-4147-A177-3AD203B41FA5}">
                      <a16:colId xmlns:a16="http://schemas.microsoft.com/office/drawing/2014/main" val="1286205393"/>
                    </a:ext>
                  </a:extLst>
                </a:gridCol>
              </a:tblGrid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Number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Model name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7122387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1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GAN anomaly detection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2708152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26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Autoencoder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4377776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4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Teacher-Student network (discriminant latent embedding)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2783453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31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Reconstruction by inpainting for visual</a:t>
                      </a:r>
                      <a:r>
                        <a:rPr lang="ko-KR" altLang="en-US" sz="1300" dirty="0"/>
                        <a:t> </a:t>
                      </a:r>
                      <a:r>
                        <a:rPr lang="en-US" altLang="ko-KR" sz="1300" dirty="0"/>
                        <a:t>inspection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059685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20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/>
                        <a:t>Distribution map-based method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18818004"/>
                  </a:ext>
                </a:extLst>
              </a:tr>
              <a:tr h="53923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b="1" dirty="0"/>
                        <a:t>[11]</a:t>
                      </a:r>
                      <a:endParaRPr lang="ko-KR" altLang="en-US" sz="1300" b="1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err="1"/>
                        <a:t>Imagenet</a:t>
                      </a:r>
                      <a:endParaRPr lang="ko-KR" altLang="en-US" sz="13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6880945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86D852E3-C926-77E0-8D96-34BA57D431B1}"/>
              </a:ext>
            </a:extLst>
          </p:cNvPr>
          <p:cNvSpPr/>
          <p:nvPr/>
        </p:nvSpPr>
        <p:spPr>
          <a:xfrm>
            <a:off x="4468494" y="1308131"/>
            <a:ext cx="836931" cy="3774617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26307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36F8D11-75C6-F4C1-C680-9BCC7F577E71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atchcore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(Memory bank based)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7AC0BB5D-439B-1CCA-0648-F0B7F050E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53" y="861297"/>
            <a:ext cx="2708222" cy="380160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sz="1500" kern="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VTec</a:t>
            </a:r>
            <a:r>
              <a:rPr lang="en-US" altLang="ko-KR" sz="1500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-ad Dataset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60B31AD3-857D-519F-9F06-CCC738C6CA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53" y="1326078"/>
            <a:ext cx="6527747" cy="21500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9AB19DF-3A0E-8A4F-9648-97F53FECBEBA}"/>
              </a:ext>
            </a:extLst>
          </p:cNvPr>
          <p:cNvSpPr txBox="1"/>
          <p:nvPr/>
        </p:nvSpPr>
        <p:spPr>
          <a:xfrm>
            <a:off x="254053" y="3560788"/>
            <a:ext cx="652774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b="1" dirty="0"/>
              <a:t>[</a:t>
            </a:r>
            <a:r>
              <a:rPr lang="en-US" altLang="ko-KR" sz="1300" b="1" dirty="0" err="1"/>
              <a:t>MVTec</a:t>
            </a:r>
            <a:r>
              <a:rPr lang="en-US" altLang="ko-KR" sz="1300" b="1" dirty="0"/>
              <a:t>-AD </a:t>
            </a:r>
            <a:r>
              <a:rPr lang="ko-KR" altLang="en-US" sz="1300" b="1" dirty="0"/>
              <a:t>데이터셋에 대한 성능 평가</a:t>
            </a:r>
            <a:r>
              <a:rPr lang="en-US" altLang="ko-KR" sz="1300" b="1" dirty="0"/>
              <a:t>]</a:t>
            </a:r>
            <a:endParaRPr lang="ko-KR" altLang="en-US" sz="1300" b="1" dirty="0"/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AD617340-19BE-D96A-15B0-F2B4436738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81" y="3937797"/>
            <a:ext cx="6518019" cy="2528574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3F0A6590-52A2-BC42-FA2E-63A3ECEE3555}"/>
              </a:ext>
            </a:extLst>
          </p:cNvPr>
          <p:cNvSpPr/>
          <p:nvPr/>
        </p:nvSpPr>
        <p:spPr>
          <a:xfrm>
            <a:off x="1010918" y="4775232"/>
            <a:ext cx="5770881" cy="215868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5864CB-BA4B-03A3-74F1-A568F198B196}"/>
              </a:ext>
            </a:extLst>
          </p:cNvPr>
          <p:cNvSpPr txBox="1"/>
          <p:nvPr/>
        </p:nvSpPr>
        <p:spPr>
          <a:xfrm>
            <a:off x="6838950" y="1352550"/>
            <a:ext cx="5076825" cy="1787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/>
              <a:t>논문에서의 성능 평가</a:t>
            </a:r>
            <a:endParaRPr lang="en-US" altLang="ko-KR" sz="1500" dirty="0"/>
          </a:p>
          <a:p>
            <a:pPr>
              <a:lnSpc>
                <a:spcPct val="150000"/>
              </a:lnSpc>
            </a:pPr>
            <a:r>
              <a:rPr lang="en-US" altLang="ko-KR" sz="1500" dirty="0"/>
              <a:t>Bottle class</a:t>
            </a:r>
            <a:r>
              <a:rPr lang="ko-KR" altLang="en-US" sz="1500" dirty="0"/>
              <a:t>에 대한 </a:t>
            </a:r>
            <a:r>
              <a:rPr lang="en-US" altLang="ko-KR" sz="1500" dirty="0"/>
              <a:t>98.6%</a:t>
            </a:r>
            <a:r>
              <a:rPr lang="ko-KR" altLang="en-US" sz="1500" dirty="0"/>
              <a:t>의 </a:t>
            </a:r>
            <a:r>
              <a:rPr lang="en-US" altLang="ko-KR" sz="1500" dirty="0"/>
              <a:t>Pixel AUROC</a:t>
            </a:r>
          </a:p>
          <a:p>
            <a:pPr>
              <a:lnSpc>
                <a:spcPct val="150000"/>
              </a:lnSpc>
            </a:pPr>
            <a:endParaRPr lang="en-US" altLang="ko-KR" sz="15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/>
              <a:t>실제 코드 성능 평가</a:t>
            </a:r>
            <a:endParaRPr lang="en-US" altLang="ko-KR" sz="1500" dirty="0"/>
          </a:p>
          <a:p>
            <a:pPr>
              <a:lnSpc>
                <a:spcPct val="150000"/>
              </a:lnSpc>
            </a:pPr>
            <a:r>
              <a:rPr lang="en-US" altLang="ko-KR" sz="1500" dirty="0"/>
              <a:t>Bottle class</a:t>
            </a:r>
            <a:r>
              <a:rPr lang="ko-KR" altLang="en-US" sz="1500" dirty="0"/>
              <a:t>에 대한 </a:t>
            </a:r>
            <a:r>
              <a:rPr lang="en-US" altLang="ko-KR" sz="1500" dirty="0"/>
              <a:t>93%</a:t>
            </a:r>
            <a:r>
              <a:rPr lang="ko-KR" altLang="en-US" sz="1500" dirty="0"/>
              <a:t>의 </a:t>
            </a:r>
            <a:r>
              <a:rPr lang="en-US" altLang="ko-KR" sz="1500" dirty="0"/>
              <a:t>Pixel AUROC</a:t>
            </a:r>
            <a:endParaRPr lang="ko-KR" altLang="en-US" sz="1500" dirty="0"/>
          </a:p>
        </p:txBody>
      </p:sp>
    </p:spTree>
    <p:extLst>
      <p:ext uri="{BB962C8B-B14F-4D97-AF65-F5344CB8AC3E}">
        <p14:creationId xmlns:p14="http://schemas.microsoft.com/office/powerpoint/2010/main" val="2535200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76</TotalTime>
  <Words>576</Words>
  <Application>Microsoft Office PowerPoint</Application>
  <PresentationFormat>와이드스크린</PresentationFormat>
  <Paragraphs>102</Paragraphs>
  <Slides>10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10</vt:i4>
      </vt:variant>
    </vt:vector>
  </HeadingPairs>
  <TitlesOfParts>
    <vt:vector size="20" baseType="lpstr">
      <vt:lpstr>현대하모니 B</vt:lpstr>
      <vt:lpstr>현대하모니 L</vt:lpstr>
      <vt:lpstr>현대하모니 M</vt:lpstr>
      <vt:lpstr>Arial</vt:lpstr>
      <vt:lpstr>Calibri</vt:lpstr>
      <vt:lpstr>Calibri Light</vt:lpstr>
      <vt:lpstr>Cambria Math</vt:lpstr>
      <vt:lpstr>Wingdings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한민웅/21800773</cp:lastModifiedBy>
  <cp:revision>1346</cp:revision>
  <dcterms:created xsi:type="dcterms:W3CDTF">2023-02-24T09:29:18Z</dcterms:created>
  <dcterms:modified xsi:type="dcterms:W3CDTF">2024-04-29T05:57:18Z</dcterms:modified>
</cp:coreProperties>
</file>